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48" r:id="rId1"/>
  </p:sldMasterIdLst>
  <p:sldIdLst>
    <p:sldId id="264" r:id="rId2"/>
    <p:sldId id="275" r:id="rId3"/>
    <p:sldId id="265" r:id="rId4"/>
    <p:sldId id="268" r:id="rId5"/>
    <p:sldId id="267" r:id="rId6"/>
    <p:sldId id="269" r:id="rId7"/>
    <p:sldId id="270" r:id="rId8"/>
    <p:sldId id="271" r:id="rId9"/>
    <p:sldId id="263" r:id="rId10"/>
    <p:sldId id="272" r:id="rId11"/>
    <p:sldId id="273" r:id="rId12"/>
    <p:sldId id="274" r:id="rId13"/>
  </p:sldIdLst>
  <p:sldSz cx="12192000" cy="6858000"/>
  <p:notesSz cx="6858000" cy="9144000"/>
  <p:embeddedFontLst>
    <p:embeddedFont>
      <p:font typeface="Jost Medium" pitchFamily="2" charset="0"/>
      <p:regular r:id="rId14"/>
      <p:italic r:id="rId15"/>
    </p:embeddedFont>
    <p:embeddedFont>
      <p:font typeface="Open Sans" pitchFamily="2" charset="0"/>
      <p:regular r:id="rId16"/>
      <p:bold r:id="rId17"/>
      <p:italic r:id="rId18"/>
      <p:boldItalic r:id="rId19"/>
    </p:embeddedFont>
  </p:embeddedFont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xempelsidor (inspiration)" id="{8B39264F-254D-4347-980F-65935BB287CA}">
          <p14:sldIdLst>
            <p14:sldId id="264"/>
            <p14:sldId id="275"/>
            <p14:sldId id="265"/>
            <p14:sldId id="268"/>
            <p14:sldId id="267"/>
            <p14:sldId id="269"/>
            <p14:sldId id="270"/>
            <p14:sldId id="271"/>
            <p14:sldId id="263"/>
            <p14:sldId id="272"/>
          </p14:sldIdLst>
        </p14:section>
        <p14:section name="Börja din presentation här" id="{8B13B071-C240-C349-BDBB-9DCA510B59D3}">
          <p14:sldIdLst>
            <p14:sldId id="273"/>
            <p14:sldId id="2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1F78"/>
    <a:srgbClr val="3475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D6B79B-B4B6-4295-B399-6E6856C0DB94}" v="6" dt="2026-05-08T11:30:20.5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6327"/>
  </p:normalViewPr>
  <p:slideViewPr>
    <p:cSldViewPr snapToGrid="0">
      <p:cViewPr varScale="1">
        <p:scale>
          <a:sx n="97" d="100"/>
          <a:sy n="97" d="100"/>
        </p:scale>
        <p:origin x="558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5.fntdata"/><Relationship Id="rId26" Type="http://schemas.openxmlformats.org/officeDocument/2006/relationships/customXml" Target="../customXml/item2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theme" Target="theme/theme1.xml"/><Relationship Id="rId27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D1-864B-ADC5-7F2798F411E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D1-864B-ADC5-7F2798F411E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FD1-864B-ADC5-7F2798F411E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FD1-864B-ADC5-7F2798F411E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FD1-864B-ADC5-7F2798F411E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FD1-864B-ADC5-7F2798F411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Blad1!$A$2:$A$7</c:f>
              <c:strCache>
                <c:ptCount val="6"/>
                <c:pt idx="0">
                  <c:v>kv 1</c:v>
                </c:pt>
                <c:pt idx="1">
                  <c:v>kv 2</c:v>
                </c:pt>
                <c:pt idx="2">
                  <c:v>kv 3</c:v>
                </c:pt>
                <c:pt idx="3">
                  <c:v>kv 4</c:v>
                </c:pt>
                <c:pt idx="4">
                  <c:v>kv 5</c:v>
                </c:pt>
                <c:pt idx="5">
                  <c:v>kv 6</c:v>
                </c:pt>
              </c:strCache>
            </c:strRef>
          </c:cat>
          <c:val>
            <c:numRef>
              <c:f>Blad1!$B$2:$B$7</c:f>
              <c:numCache>
                <c:formatCode>General</c:formatCode>
                <c:ptCount val="6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7B-C74D-90A6-40C54DEA2B3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sv-S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7</c:f>
              <c:strCache>
                <c:ptCount val="6"/>
                <c:pt idx="0">
                  <c:v>kv 1</c:v>
                </c:pt>
                <c:pt idx="1">
                  <c:v>kv 2</c:v>
                </c:pt>
                <c:pt idx="2">
                  <c:v>kv 3</c:v>
                </c:pt>
                <c:pt idx="3">
                  <c:v>kv 4</c:v>
                </c:pt>
                <c:pt idx="4">
                  <c:v>kv 5</c:v>
                </c:pt>
                <c:pt idx="5">
                  <c:v>kv 6</c:v>
                </c:pt>
              </c:strCache>
            </c:strRef>
          </c:cat>
          <c:val>
            <c:numRef>
              <c:f>Blad1!$B$2:$B$7</c:f>
              <c:numCache>
                <c:formatCode>General</c:formatCode>
                <c:ptCount val="6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A8-C846-BEE3-294AFDC8BBA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32021424"/>
        <c:axId val="931576464"/>
      </c:barChart>
      <c:catAx>
        <c:axId val="932021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sv-SE"/>
          </a:p>
        </c:txPr>
        <c:crossAx val="931576464"/>
        <c:crosses val="autoZero"/>
        <c:auto val="1"/>
        <c:lblAlgn val="ctr"/>
        <c:lblOffset val="100"/>
        <c:noMultiLvlLbl val="0"/>
      </c:catAx>
      <c:valAx>
        <c:axId val="931576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sv-SE"/>
          </a:p>
        </c:txPr>
        <c:crossAx val="93202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sv-S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AFB3DA-CE4D-6DAD-8403-5A5D8F668D9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E"/>
          </a:p>
        </p:txBody>
      </p:sp>
      <p:sp>
        <p:nvSpPr>
          <p:cNvPr id="11" name="Rubrik 10">
            <a:extLst>
              <a:ext uri="{FF2B5EF4-FFF2-40B4-BE49-F238E27FC236}">
                <a16:creationId xmlns:a16="http://schemas.microsoft.com/office/drawing/2014/main" id="{11DD4B67-6836-9D2D-D0EA-90DB5D08E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777" y="1533851"/>
            <a:ext cx="8786446" cy="3790298"/>
          </a:xfrm>
        </p:spPr>
        <p:txBody>
          <a:bodyPr anchor="ctr">
            <a:no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CABAAE99-1858-988B-874B-46454CE90A02}"/>
              </a:ext>
            </a:extLst>
          </p:cNvPr>
          <p:cNvSpPr/>
          <p:nvPr userDrawn="1"/>
        </p:nvSpPr>
        <p:spPr>
          <a:xfrm>
            <a:off x="0" y="-1137138"/>
            <a:ext cx="7080738" cy="986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400" dirty="0">
                <a:solidFill>
                  <a:sysClr val="windowText" lastClr="000000"/>
                </a:solidFill>
                <a:latin typeface="+mn-lt"/>
                <a:ea typeface="Inter" panose="020B0502030000000004" pitchFamily="34" charset="0"/>
              </a:rPr>
              <a:t>Lägg till</a:t>
            </a:r>
            <a:r>
              <a:rPr lang="en-SE" sz="1400">
                <a:solidFill>
                  <a:sysClr val="windowText" lastClr="000000"/>
                </a:solidFill>
                <a:latin typeface="+mn-lt"/>
                <a:ea typeface="Inter" panose="020B0502030000000004" pitchFamily="34" charset="0"/>
              </a:rPr>
              <a:t> </a:t>
            </a:r>
            <a:r>
              <a:rPr lang="en-SE" sz="1400" dirty="0">
                <a:solidFill>
                  <a:sysClr val="windowText" lastClr="000000"/>
                </a:solidFill>
                <a:latin typeface="+mn-lt"/>
                <a:ea typeface="Inter" panose="020B0502030000000004" pitchFamily="34" charset="0"/>
              </a:rPr>
              <a:t>bildbakgrund genom att högerklicka </a:t>
            </a:r>
            <a:r>
              <a:rPr lang="en-SE" sz="1400">
                <a:solidFill>
                  <a:sysClr val="windowText" lastClr="000000"/>
                </a:solidFill>
                <a:latin typeface="+mn-lt"/>
                <a:ea typeface="Inter" panose="020B0502030000000004" pitchFamily="34" charset="0"/>
              </a:rPr>
              <a:t>på </a:t>
            </a:r>
            <a:r>
              <a:rPr lang="sv-SE" sz="1400" dirty="0">
                <a:solidFill>
                  <a:sysClr val="windowText" lastClr="000000"/>
                </a:solidFill>
                <a:latin typeface="+mn-lt"/>
                <a:ea typeface="Inter" panose="020B0502030000000004" pitchFamily="34" charset="0"/>
              </a:rPr>
              <a:t> (bilden) </a:t>
            </a:r>
            <a:r>
              <a:rPr lang="en-SE" sz="1400">
                <a:solidFill>
                  <a:sysClr val="windowText" lastClr="000000"/>
                </a:solidFill>
                <a:latin typeface="+mn-lt"/>
                <a:ea typeface="Inter" panose="020B0502030000000004" pitchFamily="34" charset="0"/>
              </a:rPr>
              <a:t>och </a:t>
            </a:r>
            <a:r>
              <a:rPr lang="en-SE" sz="1400" dirty="0">
                <a:solidFill>
                  <a:sysClr val="windowText" lastClr="000000"/>
                </a:solidFill>
                <a:latin typeface="+mn-lt"/>
                <a:ea typeface="Inter" panose="020B0502030000000004" pitchFamily="34" charset="0"/>
              </a:rPr>
              <a:t>välj ”Formatera bakgrund”/”Format Background”. Välj ”Bild eller mönsterfyllning”/”Pictrure or texture fill” under fliken ”Fill” (färghinken). Klicka på ”välj”/”insert” för att välja bild.</a:t>
            </a:r>
          </a:p>
        </p:txBody>
      </p:sp>
      <p:pic>
        <p:nvPicPr>
          <p:cNvPr id="3" name="Picture 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8BC19CFC-782C-F342-2963-E357F77263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099000" y="-1137138"/>
            <a:ext cx="3937000" cy="3797300"/>
          </a:xfrm>
          <a:prstGeom prst="rect">
            <a:avLst/>
          </a:prstGeom>
        </p:spPr>
      </p:pic>
      <p:sp>
        <p:nvSpPr>
          <p:cNvPr id="16" name="Bild 13">
            <a:extLst>
              <a:ext uri="{FF2B5EF4-FFF2-40B4-BE49-F238E27FC236}">
                <a16:creationId xmlns:a16="http://schemas.microsoft.com/office/drawing/2014/main" id="{04A1DCE6-F625-6310-73A7-045BED3861DC}"/>
              </a:ext>
            </a:extLst>
          </p:cNvPr>
          <p:cNvSpPr/>
          <p:nvPr/>
        </p:nvSpPr>
        <p:spPr>
          <a:xfrm>
            <a:off x="9784461" y="5586153"/>
            <a:ext cx="2407539" cy="1270867"/>
          </a:xfrm>
          <a:custGeom>
            <a:avLst/>
            <a:gdLst>
              <a:gd name="connsiteX0" fmla="*/ 2909452 w 2909451"/>
              <a:gd name="connsiteY0" fmla="*/ 63210 h 1535811"/>
              <a:gd name="connsiteX1" fmla="*/ 2747933 w 2909451"/>
              <a:gd name="connsiteY1" fmla="*/ 113060 h 1535811"/>
              <a:gd name="connsiteX2" fmla="*/ 901343 w 2909451"/>
              <a:gd name="connsiteY2" fmla="*/ 125666 h 1535811"/>
              <a:gd name="connsiteX3" fmla="*/ 901343 w 2909451"/>
              <a:gd name="connsiteY3" fmla="*/ 125666 h 1535811"/>
              <a:gd name="connsiteX4" fmla="*/ 173361 w 2909451"/>
              <a:gd name="connsiteY4" fmla="*/ 722156 h 1535811"/>
              <a:gd name="connsiteX5" fmla="*/ 29024 w 2909451"/>
              <a:gd name="connsiteY5" fmla="*/ 1535811 h 1535811"/>
              <a:gd name="connsiteX6" fmla="*/ 2909452 w 2909451"/>
              <a:gd name="connsiteY6" fmla="*/ 1535811 h 1535811"/>
              <a:gd name="connsiteX7" fmla="*/ 2909452 w 2909451"/>
              <a:gd name="connsiteY7" fmla="*/ 63210 h 1535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09451" h="1535811">
                <a:moveTo>
                  <a:pt x="2909452" y="63210"/>
                </a:moveTo>
                <a:cubicBezTo>
                  <a:pt x="2855612" y="83264"/>
                  <a:pt x="2801200" y="99881"/>
                  <a:pt x="2747933" y="113060"/>
                </a:cubicBezTo>
                <a:cubicBezTo>
                  <a:pt x="2090973" y="271207"/>
                  <a:pt x="1714667" y="-218705"/>
                  <a:pt x="901343" y="125666"/>
                </a:cubicBezTo>
                <a:lnTo>
                  <a:pt x="901343" y="125666"/>
                </a:lnTo>
                <a:cubicBezTo>
                  <a:pt x="624698" y="242558"/>
                  <a:pt x="338889" y="462588"/>
                  <a:pt x="173361" y="722156"/>
                </a:cubicBezTo>
                <a:cubicBezTo>
                  <a:pt x="-21379" y="1027563"/>
                  <a:pt x="-23097" y="1279682"/>
                  <a:pt x="29024" y="1535811"/>
                </a:cubicBezTo>
                <a:lnTo>
                  <a:pt x="2909452" y="1535811"/>
                </a:lnTo>
                <a:lnTo>
                  <a:pt x="2909452" y="63210"/>
                </a:lnTo>
                <a:close/>
              </a:path>
            </a:pathLst>
          </a:custGeom>
          <a:solidFill>
            <a:srgbClr val="34756C"/>
          </a:solidFill>
          <a:ln w="5728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pic>
        <p:nvPicPr>
          <p:cNvPr id="7" name="Bildobjekt 6" descr="En bild som visar text, clipart&#10;&#10;Automatiskt genererad beskrivning">
            <a:extLst>
              <a:ext uri="{FF2B5EF4-FFF2-40B4-BE49-F238E27FC236}">
                <a16:creationId xmlns:a16="http://schemas.microsoft.com/office/drawing/2014/main" id="{6B226B24-B922-E0C1-48EC-B696B533A6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1533" y="6403017"/>
            <a:ext cx="1749387" cy="21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744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derrubrik 2">
            <a:extLst>
              <a:ext uri="{FF2B5EF4-FFF2-40B4-BE49-F238E27FC236}">
                <a16:creationId xmlns:a16="http://schemas.microsoft.com/office/drawing/2014/main" id="{7E9BC135-0753-866A-0517-E1B3E10F54D0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26540" y="290427"/>
            <a:ext cx="6198973" cy="315054"/>
          </a:xfrm>
        </p:spPr>
        <p:txBody>
          <a:bodyPr>
            <a:normAutofit/>
          </a:bodyPr>
          <a:lstStyle>
            <a:lvl1pPr marL="0" indent="0" algn="l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mall för vinjett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A9D5D793-C585-DAA7-E5D8-4BDBBB553C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1533" y="6423929"/>
            <a:ext cx="1751455" cy="219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1622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- alt. intr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3A053134-2CC9-4B08-4391-6634C10B5E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Bildobjekt 3" descr="En bild som visar text, clipart&#10;&#10;Automatiskt genererad beskrivning">
            <a:extLst>
              <a:ext uri="{FF2B5EF4-FFF2-40B4-BE49-F238E27FC236}">
                <a16:creationId xmlns:a16="http://schemas.microsoft.com/office/drawing/2014/main" id="{23BAF214-7C55-EF81-F1F4-EB74A82C1F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8638" y="3128872"/>
            <a:ext cx="5440854" cy="68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5581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lut- alt. introbild m. myndighe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3A053134-2CC9-4B08-4391-6634C10B5E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Bild 4">
            <a:extLst>
              <a:ext uri="{FF2B5EF4-FFF2-40B4-BE49-F238E27FC236}">
                <a16:creationId xmlns:a16="http://schemas.microsoft.com/office/drawing/2014/main" id="{FA0781B2-4726-E001-BCF8-9B6449A7BA9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66482" y="3011081"/>
            <a:ext cx="7659037" cy="130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622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ion + logga m. myndighe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1EA7D4B6-2D91-B859-0992-5329021180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8"/>
            <a:ext cx="12268199" cy="6938833"/>
          </a:xfrm>
          <a:prstGeom prst="rect">
            <a:avLst/>
          </a:prstGeom>
        </p:spPr>
      </p:pic>
      <p:pic>
        <p:nvPicPr>
          <p:cNvPr id="5" name="Bild 4">
            <a:extLst>
              <a:ext uri="{FF2B5EF4-FFF2-40B4-BE49-F238E27FC236}">
                <a16:creationId xmlns:a16="http://schemas.microsoft.com/office/drawing/2014/main" id="{721E7544-76DA-B4B0-4546-B68EB49E622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66482" y="3011081"/>
            <a:ext cx="7659037" cy="130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803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G Avslut- alt. introbild m. myndigheter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3A053134-2CC9-4B08-4391-6634C10B5E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Bild 4">
            <a:extLst>
              <a:ext uri="{FF2B5EF4-FFF2-40B4-BE49-F238E27FC236}">
                <a16:creationId xmlns:a16="http://schemas.microsoft.com/office/drawing/2014/main" id="{FA0781B2-4726-E001-BCF8-9B6449A7BA9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66482" y="3011081"/>
            <a:ext cx="7659036" cy="130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7429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G Animation  + ENG logga m. myndighe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1EA7D4B6-2D91-B859-0992-5329021180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8"/>
            <a:ext cx="12268199" cy="6938833"/>
          </a:xfrm>
          <a:prstGeom prst="rect">
            <a:avLst/>
          </a:prstGeom>
        </p:spPr>
      </p:pic>
      <p:pic>
        <p:nvPicPr>
          <p:cNvPr id="2" name="Bild 1">
            <a:extLst>
              <a:ext uri="{FF2B5EF4-FFF2-40B4-BE49-F238E27FC236}">
                <a16:creationId xmlns:a16="http://schemas.microsoft.com/office/drawing/2014/main" id="{6262E213-4B4F-DCB7-42D3-7CD39A12C1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66482" y="3011081"/>
            <a:ext cx="7659036" cy="130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731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ion +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id="{91F56D08-F7F7-CCD1-426F-3158F301D4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8100" y="0"/>
            <a:ext cx="12268199" cy="6938833"/>
          </a:xfrm>
          <a:prstGeom prst="rect">
            <a:avLst/>
          </a:prstGeom>
        </p:spPr>
      </p:pic>
      <p:sp>
        <p:nvSpPr>
          <p:cNvPr id="11" name="Rubrik 10">
            <a:extLst>
              <a:ext uri="{FF2B5EF4-FFF2-40B4-BE49-F238E27FC236}">
                <a16:creationId xmlns:a16="http://schemas.microsoft.com/office/drawing/2014/main" id="{11DD4B67-6836-9D2D-D0EA-90DB5D08E8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02777" y="2150718"/>
            <a:ext cx="8786446" cy="2556563"/>
          </a:xfrm>
        </p:spPr>
        <p:txBody>
          <a:bodyPr anchor="ctr">
            <a:no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Platshållare för text 14">
            <a:extLst>
              <a:ext uri="{FF2B5EF4-FFF2-40B4-BE49-F238E27FC236}">
                <a16:creationId xmlns:a16="http://schemas.microsoft.com/office/drawing/2014/main" id="{30526CC8-8844-B702-DC39-56EC40747A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2777" y="4843235"/>
            <a:ext cx="8786446" cy="452475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4" name="Bildobjekt 3" descr="En bild som visar text, clipart&#10;&#10;Automatiskt genererad beskrivning">
            <a:extLst>
              <a:ext uri="{FF2B5EF4-FFF2-40B4-BE49-F238E27FC236}">
                <a16:creationId xmlns:a16="http://schemas.microsoft.com/office/drawing/2014/main" id="{3E53EFF1-D4F7-558B-18AA-F87D419149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1533" y="6403017"/>
            <a:ext cx="1749387" cy="21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114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tionsrubrik - lila">
    <p:bg>
      <p:bgPr>
        <a:solidFill>
          <a:srgbClr val="801F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0">
            <a:extLst>
              <a:ext uri="{FF2B5EF4-FFF2-40B4-BE49-F238E27FC236}">
                <a16:creationId xmlns:a16="http://schemas.microsoft.com/office/drawing/2014/main" id="{54013F57-3AED-717A-B26B-2E3DF74D3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777" y="2150718"/>
            <a:ext cx="8786446" cy="2556563"/>
          </a:xfrm>
        </p:spPr>
        <p:txBody>
          <a:bodyPr anchor="ctr">
            <a:no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4">
            <a:extLst>
              <a:ext uri="{FF2B5EF4-FFF2-40B4-BE49-F238E27FC236}">
                <a16:creationId xmlns:a16="http://schemas.microsoft.com/office/drawing/2014/main" id="{F63336E3-79B7-683D-21B4-BD6049B6BF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2777" y="4843235"/>
            <a:ext cx="8786446" cy="452475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 descr="En bild som visar text, clipart&#10;&#10;Automatiskt genererad beskrivning">
            <a:extLst>
              <a:ext uri="{FF2B5EF4-FFF2-40B4-BE49-F238E27FC236}">
                <a16:creationId xmlns:a16="http://schemas.microsoft.com/office/drawing/2014/main" id="{66E0C92D-9A44-0A5D-24CF-3CB7B94DAB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1533" y="6403017"/>
            <a:ext cx="1749387" cy="21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999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tionsrubrik - grön">
    <p:bg>
      <p:bgPr>
        <a:solidFill>
          <a:srgbClr val="3475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0">
            <a:extLst>
              <a:ext uri="{FF2B5EF4-FFF2-40B4-BE49-F238E27FC236}">
                <a16:creationId xmlns:a16="http://schemas.microsoft.com/office/drawing/2014/main" id="{361E214A-A16F-50F8-B7F1-C09DCB970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777" y="2150718"/>
            <a:ext cx="8786446" cy="2556563"/>
          </a:xfrm>
        </p:spPr>
        <p:txBody>
          <a:bodyPr anchor="ctr">
            <a:no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4">
            <a:extLst>
              <a:ext uri="{FF2B5EF4-FFF2-40B4-BE49-F238E27FC236}">
                <a16:creationId xmlns:a16="http://schemas.microsoft.com/office/drawing/2014/main" id="{F64ECBE5-DE0E-2A5C-B1DA-1254356924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2777" y="4843235"/>
            <a:ext cx="8786446" cy="452475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5" name="Bildobjekt 4" descr="En bild som visar text, clipart&#10;&#10;Automatiskt genererad beskrivning">
            <a:extLst>
              <a:ext uri="{FF2B5EF4-FFF2-40B4-BE49-F238E27FC236}">
                <a16:creationId xmlns:a16="http://schemas.microsoft.com/office/drawing/2014/main" id="{BA368C20-B91E-F897-D545-53EF8132DC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1533" y="6403017"/>
            <a:ext cx="1749387" cy="21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001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3A053134-2CC9-4B08-4391-6634C10B5E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ubrik 10">
            <a:extLst>
              <a:ext uri="{FF2B5EF4-FFF2-40B4-BE49-F238E27FC236}">
                <a16:creationId xmlns:a16="http://schemas.microsoft.com/office/drawing/2014/main" id="{11DD4B67-6836-9D2D-D0EA-90DB5D08E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777" y="2150718"/>
            <a:ext cx="8786446" cy="2556563"/>
          </a:xfrm>
        </p:spPr>
        <p:txBody>
          <a:bodyPr anchor="ctr">
            <a:no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5" name="Platshållare för text 14">
            <a:extLst>
              <a:ext uri="{FF2B5EF4-FFF2-40B4-BE49-F238E27FC236}">
                <a16:creationId xmlns:a16="http://schemas.microsoft.com/office/drawing/2014/main" id="{30526CC8-8844-B702-DC39-56EC40747A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2777" y="4843235"/>
            <a:ext cx="8786446" cy="452475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4" name="Bildobjekt 3" descr="En bild som visar text, clipart&#10;&#10;Automatiskt genererad beskrivning">
            <a:extLst>
              <a:ext uri="{FF2B5EF4-FFF2-40B4-BE49-F238E27FC236}">
                <a16:creationId xmlns:a16="http://schemas.microsoft.com/office/drawing/2014/main" id="{3E53EFF1-D4F7-558B-18AA-F87D419149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1533" y="6403017"/>
            <a:ext cx="1749387" cy="21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6033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785EFE88-CD53-3216-CA46-8C452416E5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1533" y="6423929"/>
            <a:ext cx="1751455" cy="21926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0179F1CA-D62E-01B3-AA55-3A30DE4EC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065" y="897881"/>
            <a:ext cx="9418447" cy="1325563"/>
          </a:xfrm>
        </p:spPr>
        <p:txBody>
          <a:bodyPr anchor="b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363BD37-F73A-40AB-060C-3DD0922575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065" y="2358380"/>
            <a:ext cx="6612924" cy="397823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Underrubrik 2">
            <a:extLst>
              <a:ext uri="{FF2B5EF4-FFF2-40B4-BE49-F238E27FC236}">
                <a16:creationId xmlns:a16="http://schemas.microsoft.com/office/drawing/2014/main" id="{F063EC98-B216-5874-F095-40691DBD5AB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26540" y="290427"/>
            <a:ext cx="6198973" cy="315054"/>
          </a:xfrm>
        </p:spPr>
        <p:txBody>
          <a:bodyPr>
            <a:normAutofit/>
          </a:bodyPr>
          <a:lstStyle>
            <a:lvl1pPr marL="0" indent="0" algn="l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mall för vinjett</a:t>
            </a:r>
          </a:p>
        </p:txBody>
      </p:sp>
    </p:spTree>
    <p:extLst>
      <p:ext uri="{BB962C8B-B14F-4D97-AF65-F5344CB8AC3E}">
        <p14:creationId xmlns:p14="http://schemas.microsoft.com/office/powerpoint/2010/main" val="201935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79F1CA-D62E-01B3-AA55-3A30DE4EC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065" y="897881"/>
            <a:ext cx="10436087" cy="1325563"/>
          </a:xfrm>
        </p:spPr>
        <p:txBody>
          <a:bodyPr anchor="b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363BD37-F73A-40AB-060C-3DD0922575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065" y="2358380"/>
            <a:ext cx="4979505" cy="3601739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Underrubrik 2">
            <a:extLst>
              <a:ext uri="{FF2B5EF4-FFF2-40B4-BE49-F238E27FC236}">
                <a16:creationId xmlns:a16="http://schemas.microsoft.com/office/drawing/2014/main" id="{F063EC98-B216-5874-F095-40691DBD5AB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26540" y="290427"/>
            <a:ext cx="6198973" cy="315054"/>
          </a:xfrm>
        </p:spPr>
        <p:txBody>
          <a:bodyPr>
            <a:normAutofit/>
          </a:bodyPr>
          <a:lstStyle>
            <a:lvl1pPr marL="0" indent="0" algn="l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mall för vinjett</a:t>
            </a:r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3BA202E5-EA14-4F80-85BE-14C4D343C99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047647" y="2358380"/>
            <a:ext cx="4979505" cy="3601739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13E15D90-8AFB-2AF2-89BF-A3CB19217E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1533" y="6423929"/>
            <a:ext cx="1751455" cy="219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265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 13">
            <a:extLst>
              <a:ext uri="{FF2B5EF4-FFF2-40B4-BE49-F238E27FC236}">
                <a16:creationId xmlns:a16="http://schemas.microsoft.com/office/drawing/2014/main" id="{D7888D6A-464D-DEA9-9126-D8A088C39EFC}"/>
              </a:ext>
            </a:extLst>
          </p:cNvPr>
          <p:cNvSpPr/>
          <p:nvPr userDrawn="1"/>
        </p:nvSpPr>
        <p:spPr>
          <a:xfrm>
            <a:off x="9784461" y="5586153"/>
            <a:ext cx="2407539" cy="1270867"/>
          </a:xfrm>
          <a:custGeom>
            <a:avLst/>
            <a:gdLst>
              <a:gd name="connsiteX0" fmla="*/ 2909452 w 2909451"/>
              <a:gd name="connsiteY0" fmla="*/ 63210 h 1535811"/>
              <a:gd name="connsiteX1" fmla="*/ 2747933 w 2909451"/>
              <a:gd name="connsiteY1" fmla="*/ 113060 h 1535811"/>
              <a:gd name="connsiteX2" fmla="*/ 901343 w 2909451"/>
              <a:gd name="connsiteY2" fmla="*/ 125666 h 1535811"/>
              <a:gd name="connsiteX3" fmla="*/ 901343 w 2909451"/>
              <a:gd name="connsiteY3" fmla="*/ 125666 h 1535811"/>
              <a:gd name="connsiteX4" fmla="*/ 173361 w 2909451"/>
              <a:gd name="connsiteY4" fmla="*/ 722156 h 1535811"/>
              <a:gd name="connsiteX5" fmla="*/ 29024 w 2909451"/>
              <a:gd name="connsiteY5" fmla="*/ 1535811 h 1535811"/>
              <a:gd name="connsiteX6" fmla="*/ 2909452 w 2909451"/>
              <a:gd name="connsiteY6" fmla="*/ 1535811 h 1535811"/>
              <a:gd name="connsiteX7" fmla="*/ 2909452 w 2909451"/>
              <a:gd name="connsiteY7" fmla="*/ 63210 h 1535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09451" h="1535811">
                <a:moveTo>
                  <a:pt x="2909452" y="63210"/>
                </a:moveTo>
                <a:cubicBezTo>
                  <a:pt x="2855612" y="83264"/>
                  <a:pt x="2801200" y="99881"/>
                  <a:pt x="2747933" y="113060"/>
                </a:cubicBezTo>
                <a:cubicBezTo>
                  <a:pt x="2090973" y="271207"/>
                  <a:pt x="1714667" y="-218705"/>
                  <a:pt x="901343" y="125666"/>
                </a:cubicBezTo>
                <a:lnTo>
                  <a:pt x="901343" y="125666"/>
                </a:lnTo>
                <a:cubicBezTo>
                  <a:pt x="624698" y="242558"/>
                  <a:pt x="338889" y="462588"/>
                  <a:pt x="173361" y="722156"/>
                </a:cubicBezTo>
                <a:cubicBezTo>
                  <a:pt x="-21379" y="1027563"/>
                  <a:pt x="-23097" y="1279682"/>
                  <a:pt x="29024" y="1535811"/>
                </a:cubicBezTo>
                <a:lnTo>
                  <a:pt x="2909452" y="1535811"/>
                </a:lnTo>
                <a:lnTo>
                  <a:pt x="2909452" y="63210"/>
                </a:lnTo>
                <a:close/>
              </a:path>
            </a:pathLst>
          </a:custGeom>
          <a:solidFill>
            <a:srgbClr val="34756C"/>
          </a:solidFill>
          <a:ln w="5728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179F1CA-D62E-01B3-AA55-3A30DE4EC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065" y="897881"/>
            <a:ext cx="10436087" cy="1325563"/>
          </a:xfrm>
        </p:spPr>
        <p:txBody>
          <a:bodyPr anchor="b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363BD37-F73A-40AB-060C-3DD0922575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065" y="2358380"/>
            <a:ext cx="4979505" cy="3601739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Underrubrik 2">
            <a:extLst>
              <a:ext uri="{FF2B5EF4-FFF2-40B4-BE49-F238E27FC236}">
                <a16:creationId xmlns:a16="http://schemas.microsoft.com/office/drawing/2014/main" id="{F063EC98-B216-5874-F095-40691DBD5AB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26540" y="290427"/>
            <a:ext cx="6198973" cy="315054"/>
          </a:xfrm>
        </p:spPr>
        <p:txBody>
          <a:bodyPr>
            <a:normAutofit/>
          </a:bodyPr>
          <a:lstStyle>
            <a:lvl1pPr marL="0" indent="0" algn="l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mall för vinjett</a:t>
            </a:r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3BA202E5-EA14-4F80-85BE-14C4D343C99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047647" y="2358380"/>
            <a:ext cx="4979505" cy="3601739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pic>
        <p:nvPicPr>
          <p:cNvPr id="8" name="Bildobjekt 7" descr="En bild som visar text, clipart&#10;&#10;Automatiskt genererad beskrivning">
            <a:extLst>
              <a:ext uri="{FF2B5EF4-FFF2-40B4-BE49-F238E27FC236}">
                <a16:creationId xmlns:a16="http://schemas.microsoft.com/office/drawing/2014/main" id="{5797BAF2-286D-3BF7-4CFF-9272BC2C10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1533" y="6415717"/>
            <a:ext cx="1749387" cy="21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6977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 13">
            <a:extLst>
              <a:ext uri="{FF2B5EF4-FFF2-40B4-BE49-F238E27FC236}">
                <a16:creationId xmlns:a16="http://schemas.microsoft.com/office/drawing/2014/main" id="{D7888D6A-464D-DEA9-9126-D8A088C39EFC}"/>
              </a:ext>
            </a:extLst>
          </p:cNvPr>
          <p:cNvSpPr/>
          <p:nvPr userDrawn="1"/>
        </p:nvSpPr>
        <p:spPr>
          <a:xfrm>
            <a:off x="9784461" y="5586153"/>
            <a:ext cx="2407539" cy="1270867"/>
          </a:xfrm>
          <a:custGeom>
            <a:avLst/>
            <a:gdLst>
              <a:gd name="connsiteX0" fmla="*/ 2909452 w 2909451"/>
              <a:gd name="connsiteY0" fmla="*/ 63210 h 1535811"/>
              <a:gd name="connsiteX1" fmla="*/ 2747933 w 2909451"/>
              <a:gd name="connsiteY1" fmla="*/ 113060 h 1535811"/>
              <a:gd name="connsiteX2" fmla="*/ 901343 w 2909451"/>
              <a:gd name="connsiteY2" fmla="*/ 125666 h 1535811"/>
              <a:gd name="connsiteX3" fmla="*/ 901343 w 2909451"/>
              <a:gd name="connsiteY3" fmla="*/ 125666 h 1535811"/>
              <a:gd name="connsiteX4" fmla="*/ 173361 w 2909451"/>
              <a:gd name="connsiteY4" fmla="*/ 722156 h 1535811"/>
              <a:gd name="connsiteX5" fmla="*/ 29024 w 2909451"/>
              <a:gd name="connsiteY5" fmla="*/ 1535811 h 1535811"/>
              <a:gd name="connsiteX6" fmla="*/ 2909452 w 2909451"/>
              <a:gd name="connsiteY6" fmla="*/ 1535811 h 1535811"/>
              <a:gd name="connsiteX7" fmla="*/ 2909452 w 2909451"/>
              <a:gd name="connsiteY7" fmla="*/ 63210 h 1535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09451" h="1535811">
                <a:moveTo>
                  <a:pt x="2909452" y="63210"/>
                </a:moveTo>
                <a:cubicBezTo>
                  <a:pt x="2855612" y="83264"/>
                  <a:pt x="2801200" y="99881"/>
                  <a:pt x="2747933" y="113060"/>
                </a:cubicBezTo>
                <a:cubicBezTo>
                  <a:pt x="2090973" y="271207"/>
                  <a:pt x="1714667" y="-218705"/>
                  <a:pt x="901343" y="125666"/>
                </a:cubicBezTo>
                <a:lnTo>
                  <a:pt x="901343" y="125666"/>
                </a:lnTo>
                <a:cubicBezTo>
                  <a:pt x="624698" y="242558"/>
                  <a:pt x="338889" y="462588"/>
                  <a:pt x="173361" y="722156"/>
                </a:cubicBezTo>
                <a:cubicBezTo>
                  <a:pt x="-21379" y="1027563"/>
                  <a:pt x="-23097" y="1279682"/>
                  <a:pt x="29024" y="1535811"/>
                </a:cubicBezTo>
                <a:lnTo>
                  <a:pt x="2909452" y="1535811"/>
                </a:lnTo>
                <a:lnTo>
                  <a:pt x="2909452" y="63210"/>
                </a:lnTo>
                <a:close/>
              </a:path>
            </a:pathLst>
          </a:custGeom>
          <a:solidFill>
            <a:schemeClr val="accent5"/>
          </a:solidFill>
          <a:ln w="5728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179F1CA-D62E-01B3-AA55-3A30DE4EC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065" y="897881"/>
            <a:ext cx="10436087" cy="1325563"/>
          </a:xfrm>
        </p:spPr>
        <p:txBody>
          <a:bodyPr anchor="b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363BD37-F73A-40AB-060C-3DD0922575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065" y="2358380"/>
            <a:ext cx="4979505" cy="3601739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Underrubrik 2">
            <a:extLst>
              <a:ext uri="{FF2B5EF4-FFF2-40B4-BE49-F238E27FC236}">
                <a16:creationId xmlns:a16="http://schemas.microsoft.com/office/drawing/2014/main" id="{F063EC98-B216-5874-F095-40691DBD5AB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26540" y="290427"/>
            <a:ext cx="6198973" cy="315054"/>
          </a:xfrm>
        </p:spPr>
        <p:txBody>
          <a:bodyPr>
            <a:normAutofit/>
          </a:bodyPr>
          <a:lstStyle>
            <a:lvl1pPr marL="0" indent="0" algn="l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mall för vinjett</a:t>
            </a:r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3BA202E5-EA14-4F80-85BE-14C4D343C99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047647" y="2358380"/>
            <a:ext cx="4979505" cy="3601739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pic>
        <p:nvPicPr>
          <p:cNvPr id="8" name="Bildobjekt 7" descr="En bild som visar text, clipart&#10;&#10;Automatiskt genererad beskrivning">
            <a:extLst>
              <a:ext uri="{FF2B5EF4-FFF2-40B4-BE49-F238E27FC236}">
                <a16:creationId xmlns:a16="http://schemas.microsoft.com/office/drawing/2014/main" id="{5797BAF2-286D-3BF7-4CFF-9272BC2C10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1533" y="6415717"/>
            <a:ext cx="1749387" cy="21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117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79F1CA-D62E-01B3-AA55-3A30DE4EC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065" y="897881"/>
            <a:ext cx="9418447" cy="1325563"/>
          </a:xfrm>
        </p:spPr>
        <p:txBody>
          <a:bodyPr anchor="b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Underrubrik 2">
            <a:extLst>
              <a:ext uri="{FF2B5EF4-FFF2-40B4-BE49-F238E27FC236}">
                <a16:creationId xmlns:a16="http://schemas.microsoft.com/office/drawing/2014/main" id="{F063EC98-B216-5874-F095-40691DBD5AB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26540" y="290427"/>
            <a:ext cx="6198973" cy="315054"/>
          </a:xfrm>
        </p:spPr>
        <p:txBody>
          <a:bodyPr>
            <a:normAutofit/>
          </a:bodyPr>
          <a:lstStyle>
            <a:lvl1pPr marL="0" indent="0" algn="l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mall för vinjett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51CC5727-D426-CA97-2581-F4ED5F9E4B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1533" y="6423929"/>
            <a:ext cx="1751455" cy="219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356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5762F8-A0EC-004C-78F4-8679CEC668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7981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03" imgH="503" progId="TCLayout.ActiveDocument.1">
                  <p:embed/>
                </p:oleObj>
              </mc:Choice>
              <mc:Fallback>
                <p:oleObj name="think-cell Slide" r:id="rId19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5762F8-A0EC-004C-78F4-8679CEC668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678E7B1-682D-77EF-632F-473E18974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AD24C44-3C80-0E41-4FE1-B888617DF6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406547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4" r:id="rId3"/>
    <p:sldLayoutId id="2147483662" r:id="rId4"/>
    <p:sldLayoutId id="2147483650" r:id="rId5"/>
    <p:sldLayoutId id="2147483666" r:id="rId6"/>
    <p:sldLayoutId id="2147483668" r:id="rId7"/>
    <p:sldLayoutId id="2147483669" r:id="rId8"/>
    <p:sldLayoutId id="2147483665" r:id="rId9"/>
    <p:sldLayoutId id="2147483655" r:id="rId10"/>
    <p:sldLayoutId id="2147483663" r:id="rId11"/>
    <p:sldLayoutId id="2147483667" r:id="rId12"/>
    <p:sldLayoutId id="2147483672" r:id="rId13"/>
    <p:sldLayoutId id="2147483673" r:id="rId14"/>
    <p:sldLayoutId id="2147483674" r:id="rId15"/>
    <p:sldLayoutId id="2147483671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+mj-lt"/>
          <a:ea typeface="Jost SemiBold" pitchFamily="2" charset="77"/>
          <a:cs typeface="Futura Medium" panose="020B06020202040203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5283680-DBE2-5F4B-DC31-22F24D150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xempel på titelsida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93099AB-7599-8887-E669-C3D8E51F6E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Plats för underrubrik eller datum, plats </a:t>
            </a:r>
            <a:r>
              <a:rPr lang="sv-SE" dirty="0" err="1"/>
              <a:t>etc</a:t>
            </a:r>
            <a:r>
              <a:rPr lang="sv-S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269593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6022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9FC0724-43C2-5A66-0D02-888669B28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446820B-BEE4-0D23-F8C9-D42A6664AC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175369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59BE09E-7A65-5138-E667-916935A14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CE61BE0-8A23-5BFB-19E9-06DDA2F61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82FA0A93-8C31-557B-6814-980449AB7B75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3521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71479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D17E143-E101-C4FB-8FA7-0E7381FC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xempelsida med rubrik och tex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2D886D-DB9C-CB04-ED0F-021BBCE988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065" y="2358380"/>
            <a:ext cx="6149704" cy="3978233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sv-SE" dirty="0" err="1"/>
              <a:t>Vestibulum</a:t>
            </a:r>
            <a:r>
              <a:rPr lang="sv-SE" dirty="0"/>
              <a:t> id </a:t>
            </a:r>
            <a:r>
              <a:rPr lang="sv-SE" dirty="0" err="1"/>
              <a:t>ligula</a:t>
            </a:r>
            <a:r>
              <a:rPr lang="sv-SE" dirty="0"/>
              <a:t> porta </a:t>
            </a:r>
            <a:r>
              <a:rPr lang="sv-SE" dirty="0" err="1"/>
              <a:t>felis</a:t>
            </a:r>
            <a:r>
              <a:rPr lang="sv-SE" dirty="0"/>
              <a:t> </a:t>
            </a:r>
            <a:r>
              <a:rPr lang="sv-SE" dirty="0" err="1"/>
              <a:t>euismod</a:t>
            </a:r>
            <a:r>
              <a:rPr lang="sv-SE" dirty="0"/>
              <a:t> </a:t>
            </a:r>
            <a:r>
              <a:rPr lang="sv-SE" dirty="0" err="1"/>
              <a:t>semper</a:t>
            </a:r>
            <a:r>
              <a:rPr lang="sv-SE" dirty="0"/>
              <a:t>. </a:t>
            </a:r>
            <a:r>
              <a:rPr lang="sv-SE" dirty="0" err="1"/>
              <a:t>Nullam</a:t>
            </a:r>
            <a:r>
              <a:rPr lang="sv-SE" dirty="0"/>
              <a:t> id </a:t>
            </a:r>
            <a:r>
              <a:rPr lang="sv-SE" dirty="0" err="1"/>
              <a:t>dolor</a:t>
            </a:r>
            <a:r>
              <a:rPr lang="sv-SE" dirty="0"/>
              <a:t> id </a:t>
            </a:r>
            <a:r>
              <a:rPr lang="sv-SE" dirty="0" err="1"/>
              <a:t>nibh</a:t>
            </a:r>
            <a:r>
              <a:rPr lang="sv-SE" dirty="0"/>
              <a:t> </a:t>
            </a:r>
            <a:r>
              <a:rPr lang="sv-SE" dirty="0" err="1"/>
              <a:t>ultricies</a:t>
            </a:r>
            <a:r>
              <a:rPr lang="sv-SE" dirty="0"/>
              <a:t> </a:t>
            </a:r>
            <a:r>
              <a:rPr lang="sv-SE" dirty="0" err="1"/>
              <a:t>vehicula</a:t>
            </a:r>
            <a:r>
              <a:rPr lang="sv-SE" dirty="0"/>
              <a:t> ut id elit. </a:t>
            </a:r>
            <a:r>
              <a:rPr lang="sv-SE" dirty="0" err="1"/>
              <a:t>Maecenas</a:t>
            </a:r>
            <a:r>
              <a:rPr lang="sv-SE" dirty="0"/>
              <a:t> sed </a:t>
            </a:r>
            <a:r>
              <a:rPr lang="sv-SE" dirty="0" err="1"/>
              <a:t>diam</a:t>
            </a:r>
            <a:r>
              <a:rPr lang="sv-SE" dirty="0"/>
              <a:t> eget </a:t>
            </a:r>
            <a:r>
              <a:rPr lang="sv-SE" dirty="0" err="1"/>
              <a:t>risus</a:t>
            </a:r>
            <a:r>
              <a:rPr lang="sv-SE" dirty="0"/>
              <a:t> </a:t>
            </a:r>
            <a:r>
              <a:rPr lang="sv-SE" dirty="0" err="1"/>
              <a:t>varius</a:t>
            </a:r>
            <a:r>
              <a:rPr lang="sv-SE" dirty="0"/>
              <a:t> </a:t>
            </a:r>
            <a:r>
              <a:rPr lang="sv-SE" dirty="0" err="1"/>
              <a:t>blandit</a:t>
            </a:r>
            <a:r>
              <a:rPr lang="sv-SE" dirty="0"/>
              <a:t> </a:t>
            </a:r>
            <a:r>
              <a:rPr lang="sv-SE" dirty="0" err="1"/>
              <a:t>sit</a:t>
            </a:r>
            <a:r>
              <a:rPr lang="sv-SE" dirty="0"/>
              <a:t> </a:t>
            </a:r>
            <a:r>
              <a:rPr lang="sv-SE" dirty="0" err="1"/>
              <a:t>amet</a:t>
            </a:r>
            <a:r>
              <a:rPr lang="sv-SE" dirty="0"/>
              <a:t> non </a:t>
            </a:r>
            <a:r>
              <a:rPr lang="sv-SE" dirty="0" err="1"/>
              <a:t>magna</a:t>
            </a:r>
            <a:r>
              <a:rPr lang="sv-SE" dirty="0"/>
              <a:t>.</a:t>
            </a:r>
          </a:p>
          <a:p>
            <a:r>
              <a:rPr lang="sv-SE" dirty="0" err="1"/>
              <a:t>Lorem</a:t>
            </a:r>
            <a:r>
              <a:rPr lang="sv-SE" dirty="0"/>
              <a:t> </a:t>
            </a:r>
            <a:r>
              <a:rPr lang="sv-SE" dirty="0" err="1"/>
              <a:t>ipsum</a:t>
            </a:r>
            <a:r>
              <a:rPr lang="sv-SE" dirty="0"/>
              <a:t> text med punktlista. </a:t>
            </a:r>
          </a:p>
          <a:p>
            <a:r>
              <a:rPr lang="sv-SE" dirty="0" err="1"/>
              <a:t>Duis</a:t>
            </a:r>
            <a:r>
              <a:rPr lang="sv-SE" dirty="0"/>
              <a:t> </a:t>
            </a:r>
            <a:r>
              <a:rPr lang="sv-SE" dirty="0" err="1"/>
              <a:t>mollis</a:t>
            </a:r>
            <a:r>
              <a:rPr lang="sv-SE" dirty="0"/>
              <a:t>, est non </a:t>
            </a:r>
            <a:r>
              <a:rPr lang="sv-SE" dirty="0" err="1"/>
              <a:t>commodo</a:t>
            </a:r>
            <a:r>
              <a:rPr lang="sv-SE" dirty="0"/>
              <a:t> </a:t>
            </a:r>
            <a:r>
              <a:rPr lang="sv-SE" dirty="0" err="1"/>
              <a:t>luctus</a:t>
            </a:r>
            <a:r>
              <a:rPr lang="sv-SE" dirty="0"/>
              <a:t>. </a:t>
            </a:r>
          </a:p>
          <a:p>
            <a:r>
              <a:rPr lang="sv-SE" dirty="0" err="1"/>
              <a:t>Nisi</a:t>
            </a:r>
            <a:r>
              <a:rPr lang="sv-SE" dirty="0"/>
              <a:t> erat porttitor </a:t>
            </a:r>
            <a:r>
              <a:rPr lang="sv-SE" dirty="0" err="1"/>
              <a:t>ligula</a:t>
            </a:r>
            <a:r>
              <a:rPr lang="sv-SE" dirty="0"/>
              <a:t>, eget </a:t>
            </a:r>
            <a:r>
              <a:rPr lang="sv-SE" dirty="0" err="1"/>
              <a:t>lacinia</a:t>
            </a:r>
            <a:r>
              <a:rPr lang="sv-SE" dirty="0"/>
              <a:t> </a:t>
            </a:r>
            <a:r>
              <a:rPr lang="sv-SE" dirty="0" err="1"/>
              <a:t>odio</a:t>
            </a:r>
            <a:r>
              <a:rPr lang="sv-SE" dirty="0"/>
              <a:t> sem. </a:t>
            </a:r>
          </a:p>
          <a:p>
            <a:r>
              <a:rPr lang="sv-SE" dirty="0" err="1"/>
              <a:t>Aenean</a:t>
            </a:r>
            <a:r>
              <a:rPr lang="sv-SE" dirty="0"/>
              <a:t> </a:t>
            </a:r>
            <a:r>
              <a:rPr lang="sv-SE" dirty="0" err="1"/>
              <a:t>lacinia</a:t>
            </a:r>
            <a:r>
              <a:rPr lang="sv-SE" dirty="0"/>
              <a:t> </a:t>
            </a:r>
            <a:r>
              <a:rPr lang="sv-SE" dirty="0" err="1"/>
              <a:t>bibendum</a:t>
            </a:r>
            <a:r>
              <a:rPr lang="sv-SE" dirty="0"/>
              <a:t> </a:t>
            </a:r>
            <a:r>
              <a:rPr lang="sv-SE" dirty="0" err="1"/>
              <a:t>nulla</a:t>
            </a:r>
            <a:r>
              <a:rPr lang="sv-SE" dirty="0"/>
              <a:t> </a:t>
            </a:r>
            <a:r>
              <a:rPr lang="sv-SE" dirty="0" err="1"/>
              <a:t>consectetur</a:t>
            </a:r>
            <a:r>
              <a:rPr lang="sv-SE" dirty="0"/>
              <a:t>.</a:t>
            </a:r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EB20C821-7457-DA23-612C-FBE7377492E4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sv-SE" dirty="0"/>
              <a:t>Exempelvinjett</a:t>
            </a:r>
          </a:p>
        </p:txBody>
      </p:sp>
    </p:spTree>
    <p:extLst>
      <p:ext uri="{BB962C8B-B14F-4D97-AF65-F5344CB8AC3E}">
        <p14:creationId xmlns:p14="http://schemas.microsoft.com/office/powerpoint/2010/main" val="3680863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C3EB784-EACA-12BE-40B4-DB19DCEF63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xempel på kapitelsida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406AD07-6AC0-138C-C81F-79A338F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Eventuellt en underrubrik</a:t>
            </a:r>
          </a:p>
        </p:txBody>
      </p:sp>
    </p:spTree>
    <p:extLst>
      <p:ext uri="{BB962C8B-B14F-4D97-AF65-F5344CB8AC3E}">
        <p14:creationId xmlns:p14="http://schemas.microsoft.com/office/powerpoint/2010/main" val="26245249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D17E143-E101-C4FB-8FA7-0E7381FC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>
            <a:normAutofit/>
          </a:bodyPr>
          <a:lstStyle/>
          <a:p>
            <a:pPr>
              <a:lnSpc>
                <a:spcPct val="100000"/>
              </a:lnSpc>
            </a:pPr>
            <a:r>
              <a:rPr lang="sv-SE" dirty="0"/>
              <a:t>Exempelsida med rubrik, text och bil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2D886D-DB9C-CB04-ED0F-021BBCE98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/>
              <a:t>Lorem</a:t>
            </a:r>
            <a:r>
              <a:rPr lang="sv-SE" dirty="0"/>
              <a:t> </a:t>
            </a:r>
            <a:r>
              <a:rPr lang="sv-SE" dirty="0" err="1"/>
              <a:t>ipsum</a:t>
            </a:r>
            <a:r>
              <a:rPr lang="sv-SE" dirty="0"/>
              <a:t> text med punktlista. </a:t>
            </a:r>
          </a:p>
          <a:p>
            <a:r>
              <a:rPr lang="sv-SE" dirty="0" err="1"/>
              <a:t>Duis</a:t>
            </a:r>
            <a:r>
              <a:rPr lang="sv-SE" dirty="0"/>
              <a:t> </a:t>
            </a:r>
            <a:r>
              <a:rPr lang="sv-SE" dirty="0" err="1"/>
              <a:t>mollis</a:t>
            </a:r>
            <a:r>
              <a:rPr lang="sv-SE" dirty="0"/>
              <a:t>, est non </a:t>
            </a:r>
            <a:r>
              <a:rPr lang="sv-SE" dirty="0" err="1"/>
              <a:t>commodo</a:t>
            </a:r>
            <a:r>
              <a:rPr lang="sv-SE" dirty="0"/>
              <a:t> </a:t>
            </a:r>
            <a:r>
              <a:rPr lang="sv-SE" dirty="0" err="1"/>
              <a:t>luctus</a:t>
            </a:r>
            <a:r>
              <a:rPr lang="sv-SE" dirty="0"/>
              <a:t>. </a:t>
            </a:r>
          </a:p>
          <a:p>
            <a:r>
              <a:rPr lang="sv-SE" dirty="0" err="1"/>
              <a:t>Nisi</a:t>
            </a:r>
            <a:r>
              <a:rPr lang="sv-SE" dirty="0"/>
              <a:t> erat porttitor </a:t>
            </a:r>
            <a:r>
              <a:rPr lang="sv-SE" dirty="0" err="1"/>
              <a:t>ligula</a:t>
            </a:r>
            <a:r>
              <a:rPr lang="sv-SE" dirty="0"/>
              <a:t>, eget </a:t>
            </a:r>
            <a:r>
              <a:rPr lang="sv-SE" dirty="0" err="1"/>
              <a:t>lacinia</a:t>
            </a:r>
            <a:r>
              <a:rPr lang="sv-SE" dirty="0"/>
              <a:t> </a:t>
            </a:r>
            <a:r>
              <a:rPr lang="sv-SE" dirty="0" err="1"/>
              <a:t>odio</a:t>
            </a:r>
            <a:r>
              <a:rPr lang="sv-SE" dirty="0"/>
              <a:t> sem. </a:t>
            </a:r>
          </a:p>
          <a:p>
            <a:r>
              <a:rPr lang="sv-SE" dirty="0" err="1"/>
              <a:t>Aenean</a:t>
            </a:r>
            <a:r>
              <a:rPr lang="sv-SE" dirty="0"/>
              <a:t> </a:t>
            </a:r>
            <a:r>
              <a:rPr lang="sv-SE" dirty="0" err="1"/>
              <a:t>lacinia</a:t>
            </a:r>
            <a:r>
              <a:rPr lang="sv-SE" dirty="0"/>
              <a:t> </a:t>
            </a:r>
            <a:r>
              <a:rPr lang="sv-SE" dirty="0" err="1"/>
              <a:t>bibendum</a:t>
            </a:r>
            <a:r>
              <a:rPr lang="sv-SE" dirty="0"/>
              <a:t> </a:t>
            </a:r>
            <a:r>
              <a:rPr lang="sv-SE" dirty="0" err="1"/>
              <a:t>nulla</a:t>
            </a:r>
            <a:r>
              <a:rPr lang="sv-SE" dirty="0"/>
              <a:t> </a:t>
            </a:r>
            <a:r>
              <a:rPr lang="sv-SE" dirty="0" err="1"/>
              <a:t>consectetur</a:t>
            </a:r>
            <a:r>
              <a:rPr lang="sv-SE" dirty="0"/>
              <a:t>.</a:t>
            </a:r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EB20C821-7457-DA23-612C-FBE7377492E4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sv-SE" dirty="0"/>
              <a:t>Exempelvinjett</a:t>
            </a:r>
          </a:p>
        </p:txBody>
      </p:sp>
      <p:pic>
        <p:nvPicPr>
          <p:cNvPr id="7" name="Platshållare för innehåll 6">
            <a:extLst>
              <a:ext uri="{FF2B5EF4-FFF2-40B4-BE49-F238E27FC236}">
                <a16:creationId xmlns:a16="http://schemas.microsoft.com/office/drawing/2014/main" id="{3E78F673-B41F-3016-C385-D7FC67BA5EE2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2"/>
          <a:stretch>
            <a:fillRect/>
          </a:stretch>
        </p:blipFill>
        <p:spPr>
          <a:xfrm>
            <a:off x="7155090" y="2359025"/>
            <a:ext cx="2764970" cy="3600450"/>
          </a:xfrm>
        </p:spPr>
      </p:pic>
    </p:spTree>
    <p:extLst>
      <p:ext uri="{BB962C8B-B14F-4D97-AF65-F5344CB8AC3E}">
        <p14:creationId xmlns:p14="http://schemas.microsoft.com/office/powerpoint/2010/main" val="2889195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E4D229C-D7B0-CC87-F49E-0E4BB69A6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n kapitelsida kan vara grön också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16B1B8B-184F-A3D8-ADCE-C64B2D43BD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7326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CA3C58-E370-EB00-8727-AEECBF4F7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065" y="897881"/>
            <a:ext cx="9854961" cy="1325563"/>
          </a:xfrm>
        </p:spPr>
        <p:txBody>
          <a:bodyPr/>
          <a:lstStyle/>
          <a:p>
            <a:r>
              <a:rPr lang="sv-SE" dirty="0"/>
              <a:t>En tom sida med plats för valfri graf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5C6953A-59F0-0F30-0F6B-6B5B81B483CF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sv-SE" dirty="0" err="1"/>
              <a:t>Vinjett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04723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8F6D85-4BD4-6C63-44B4-585FD4555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or bildsida, kan också vara kapitelsida</a:t>
            </a:r>
          </a:p>
        </p:txBody>
      </p:sp>
    </p:spTree>
    <p:extLst>
      <p:ext uri="{BB962C8B-B14F-4D97-AF65-F5344CB8AC3E}">
        <p14:creationId xmlns:p14="http://schemas.microsoft.com/office/powerpoint/2010/main" val="42832990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021FBA69-A86F-E0DE-F4B9-0F7573A8B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065" y="897881"/>
            <a:ext cx="9418447" cy="778519"/>
          </a:xfrm>
        </p:spPr>
        <p:txBody>
          <a:bodyPr/>
          <a:lstStyle/>
          <a:p>
            <a:r>
              <a:rPr lang="sv-SE" dirty="0"/>
              <a:t>Diagram</a:t>
            </a:r>
          </a:p>
        </p:txBody>
      </p:sp>
      <p:sp>
        <p:nvSpPr>
          <p:cNvPr id="2" name="Underrubrik 1">
            <a:extLst>
              <a:ext uri="{FF2B5EF4-FFF2-40B4-BE49-F238E27FC236}">
                <a16:creationId xmlns:a16="http://schemas.microsoft.com/office/drawing/2014/main" id="{95954907-DB75-B910-CB9F-82C9DB7ED954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sv-SE" dirty="0"/>
              <a:t>Diagramexempel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787C2C21-2467-DEC0-CA04-EB7DCDB71F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3412099"/>
              </p:ext>
            </p:extLst>
          </p:nvPr>
        </p:nvGraphicFramePr>
        <p:xfrm>
          <a:off x="226540" y="1968801"/>
          <a:ext cx="5493634" cy="4004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7799866-918B-1719-A33E-BE5BF5F95A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0525372"/>
              </p:ext>
            </p:extLst>
          </p:nvPr>
        </p:nvGraphicFramePr>
        <p:xfrm>
          <a:off x="6096000" y="1968800"/>
          <a:ext cx="5493634" cy="4004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83025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Impact Innovation">
      <a:dk1>
        <a:srgbClr val="000000"/>
      </a:dk1>
      <a:lt1>
        <a:srgbClr val="FFFFFF"/>
      </a:lt1>
      <a:dk2>
        <a:srgbClr val="1A3B36"/>
      </a:dk2>
      <a:lt2>
        <a:srgbClr val="E0F3EF"/>
      </a:lt2>
      <a:accent1>
        <a:srgbClr val="62C2AE"/>
      </a:accent1>
      <a:accent2>
        <a:srgbClr val="34756C"/>
      </a:accent2>
      <a:accent3>
        <a:srgbClr val="5D19FF"/>
      </a:accent3>
      <a:accent4>
        <a:srgbClr val="C33689"/>
      </a:accent4>
      <a:accent5>
        <a:srgbClr val="891F78"/>
      </a:accent5>
      <a:accent6>
        <a:srgbClr val="F9CAE4"/>
      </a:accent6>
      <a:hlink>
        <a:srgbClr val="000000"/>
      </a:hlink>
      <a:folHlink>
        <a:srgbClr val="000000"/>
      </a:folHlink>
    </a:clrScheme>
    <a:fontScheme name="Impact Innovation">
      <a:majorFont>
        <a:latin typeface="Jost Medium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mpact_innovation_presationsmall" id="{44848303-2412-46A2-91E7-CD93DDFDDCB5}" vid="{0B8C2DA2-D5D2-4935-9BBC-4FA07C0D45E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A1D7A7D8EA2B42926C5D07B44DC937" ma:contentTypeVersion="19" ma:contentTypeDescription="Create a new document." ma:contentTypeScope="" ma:versionID="6150636f2a5ff6df8e3dca5aaedbbe97">
  <xsd:schema xmlns:xsd="http://www.w3.org/2001/XMLSchema" xmlns:xs="http://www.w3.org/2001/XMLSchema" xmlns:p="http://schemas.microsoft.com/office/2006/metadata/properties" xmlns:ns2="f4b38079-d104-4d5c-9a0f-e23e7fc48d11" xmlns:ns3="03b604f3-0922-4fdd-94b3-e9db16ba1927" targetNamespace="http://schemas.microsoft.com/office/2006/metadata/properties" ma:root="true" ma:fieldsID="728f596f416475285930e20161a0a266" ns2:_="" ns3:_="">
    <xsd:import namespace="f4b38079-d104-4d5c-9a0f-e23e7fc48d11"/>
    <xsd:import namespace="03b604f3-0922-4fdd-94b3-e9db16ba192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38079-d104-4d5c-9a0f-e23e7fc48d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fd68d59-1c67-44cd-8d14-c05e37d420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b604f3-0922-4fdd-94b3-e9db16ba192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8777c4b-f45e-4a67-99d2-6e7f8dc2ed87}" ma:internalName="TaxCatchAll" ma:showField="CatchAllData" ma:web="03b604f3-0922-4fdd-94b3-e9db16ba192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4b38079-d104-4d5c-9a0f-e23e7fc48d11">
      <Terms xmlns="http://schemas.microsoft.com/office/infopath/2007/PartnerControls"/>
    </lcf76f155ced4ddcb4097134ff3c332f>
    <TaxCatchAll xmlns="03b604f3-0922-4fdd-94b3-e9db16ba1927" xsi:nil="true"/>
  </documentManagement>
</p:properties>
</file>

<file path=customXml/itemProps1.xml><?xml version="1.0" encoding="utf-8"?>
<ds:datastoreItem xmlns:ds="http://schemas.openxmlformats.org/officeDocument/2006/customXml" ds:itemID="{D361A90C-110A-4D3A-B413-369B1B01FC5F}"/>
</file>

<file path=customXml/itemProps2.xml><?xml version="1.0" encoding="utf-8"?>
<ds:datastoreItem xmlns:ds="http://schemas.openxmlformats.org/officeDocument/2006/customXml" ds:itemID="{7E553361-B326-4B7B-B0C6-C8BDC579FB41}"/>
</file>

<file path=customXml/itemProps3.xml><?xml version="1.0" encoding="utf-8"?>
<ds:datastoreItem xmlns:ds="http://schemas.openxmlformats.org/officeDocument/2006/customXml" ds:itemID="{6A7C2927-932B-4D11-9306-75AA88E8EEA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7</Words>
  <Application>Microsoft Office PowerPoint</Application>
  <PresentationFormat>Bredbild</PresentationFormat>
  <Paragraphs>23</Paragraphs>
  <Slides>12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2</vt:i4>
      </vt:variant>
    </vt:vector>
  </HeadingPairs>
  <TitlesOfParts>
    <vt:vector size="17" baseType="lpstr">
      <vt:lpstr>Jost Medium</vt:lpstr>
      <vt:lpstr>Open Sans</vt:lpstr>
      <vt:lpstr>Arial</vt:lpstr>
      <vt:lpstr>Office-tema</vt:lpstr>
      <vt:lpstr>think-cell Slide</vt:lpstr>
      <vt:lpstr>Exempel på titelsida</vt:lpstr>
      <vt:lpstr>PowerPoint-presentation</vt:lpstr>
      <vt:lpstr>Exempelsida med rubrik och text</vt:lpstr>
      <vt:lpstr>Exempel på kapitelsida</vt:lpstr>
      <vt:lpstr>Exempelsida med rubrik, text och bild</vt:lpstr>
      <vt:lpstr>En kapitelsida kan vara grön också</vt:lpstr>
      <vt:lpstr>En tom sida med plats för valfri grafik</vt:lpstr>
      <vt:lpstr>Stor bildsida, kan också vara kapitelsida</vt:lpstr>
      <vt:lpstr>Diagram</vt:lpstr>
      <vt:lpstr>PowerPoint-presentation</vt:lpstr>
      <vt:lpstr>PowerPoint-present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6-05-08T11:29:59Z</dcterms:created>
  <dcterms:modified xsi:type="dcterms:W3CDTF">2026-05-08T11:3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FA1D7A7D8EA2B42926C5D07B44DC937</vt:lpwstr>
  </property>
</Properties>
</file>